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20"/>
  </p:notesMasterIdLst>
  <p:handoutMasterIdLst>
    <p:handoutMasterId r:id="rId21"/>
  </p:handoutMasterIdLst>
  <p:sldIdLst>
    <p:sldId id="934" r:id="rId2"/>
    <p:sldId id="935" r:id="rId3"/>
    <p:sldId id="936" r:id="rId4"/>
    <p:sldId id="937" r:id="rId5"/>
    <p:sldId id="938" r:id="rId6"/>
    <p:sldId id="939" r:id="rId7"/>
    <p:sldId id="940" r:id="rId8"/>
    <p:sldId id="941" r:id="rId9"/>
    <p:sldId id="942" r:id="rId10"/>
    <p:sldId id="943" r:id="rId11"/>
    <p:sldId id="951" r:id="rId12"/>
    <p:sldId id="945" r:id="rId13"/>
    <p:sldId id="946" r:id="rId14"/>
    <p:sldId id="947" r:id="rId15"/>
    <p:sldId id="948" r:id="rId16"/>
    <p:sldId id="949" r:id="rId17"/>
    <p:sldId id="950" r:id="rId18"/>
    <p:sldId id="944" r:id="rId19"/>
  </p:sldIdLst>
  <p:sldSz cx="9144000" cy="6858000" type="screen4x3"/>
  <p:notesSz cx="6724650" cy="9774238"/>
  <p:custDataLst>
    <p:tags r:id="rId2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ele-GroteskNor" pitchFamily="2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ele-GroteskNor" pitchFamily="2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ele-GroteskNor" pitchFamily="2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ele-GroteskNor" pitchFamily="2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ele-GroteskNor" pitchFamily="2" charset="0"/>
        <a:ea typeface="+mn-ea"/>
        <a:cs typeface="Arial" pitchFamily="34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Tele-GroteskNor" pitchFamily="2" charset="0"/>
        <a:ea typeface="+mn-ea"/>
        <a:cs typeface="Arial" pitchFamily="34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Tele-GroteskNor" pitchFamily="2" charset="0"/>
        <a:ea typeface="+mn-ea"/>
        <a:cs typeface="Arial" pitchFamily="34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Tele-GroteskNor" pitchFamily="2" charset="0"/>
        <a:ea typeface="+mn-ea"/>
        <a:cs typeface="Arial" pitchFamily="34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Tele-GroteskNor" pitchFamily="2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20074"/>
    <a:srgbClr val="5F95C1"/>
    <a:srgbClr val="DDDDDD"/>
    <a:srgbClr val="5F5F5F"/>
    <a:srgbClr val="EDA95A"/>
    <a:srgbClr val="DDD674"/>
    <a:srgbClr val="BABD5A"/>
    <a:srgbClr val="BAC2F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426" autoAdjust="0"/>
    <p:restoredTop sz="94710" autoAdjust="0"/>
  </p:normalViewPr>
  <p:slideViewPr>
    <p:cSldViewPr snapToGrid="0" snapToObjects="1">
      <p:cViewPr>
        <p:scale>
          <a:sx n="100" d="100"/>
          <a:sy n="100" d="100"/>
        </p:scale>
        <p:origin x="-1470" y="-360"/>
      </p:cViewPr>
      <p:guideLst>
        <p:guide orient="horz" pos="1171"/>
        <p:guide orient="horz" pos="264"/>
        <p:guide orient="horz" pos="1567"/>
        <p:guide pos="245"/>
        <p:guide pos="5514"/>
        <p:guide pos="4188"/>
        <p:guide pos="151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944"/>
    </p:cViewPr>
  </p:sorterViewPr>
  <p:notesViewPr>
    <p:cSldViewPr snapToGrid="0" snapToObjects="1">
      <p:cViewPr varScale="1">
        <p:scale>
          <a:sx n="80" d="100"/>
          <a:sy n="80" d="100"/>
        </p:scale>
        <p:origin x="-3342" y="-84"/>
      </p:cViewPr>
      <p:guideLst>
        <p:guide orient="horz" pos="3080"/>
        <p:guide pos="2119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206708" y="357944"/>
            <a:ext cx="1984900" cy="122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443017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imes New Roman" pitchFamily="18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13.08.2007</a:t>
            </a:r>
          </a:p>
        </p:txBody>
      </p:sp>
      <p:sp>
        <p:nvSpPr>
          <p:cNvPr id="2765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206708" y="542483"/>
            <a:ext cx="1984900" cy="127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defTabSz="443017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imes New Roman" pitchFamily="18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fld id="{A405EA44-4B2A-4D61-997F-8C96BEEE621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6152" name="Rectangle 8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206708" y="450213"/>
            <a:ext cx="1984900" cy="1272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443017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imes New Roman" pitchFamily="18" charset="0"/>
              <a:buNone/>
              <a:defRPr sz="600"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Confidential</a:t>
            </a:r>
          </a:p>
        </p:txBody>
      </p:sp>
      <p:pic>
        <p:nvPicPr>
          <p:cNvPr id="21509" name="Picture 10" descr="T_Kurzform_1K"/>
          <p:cNvPicPr>
            <a:picLocks noChangeAspect="1" noChangeArrowheads="1"/>
          </p:cNvPicPr>
          <p:nvPr/>
        </p:nvPicPr>
        <p:blipFill>
          <a:blip r:embed="rId2" cstate="print"/>
          <a:srcRect l="2573" t="23096" r="2733" b="23587"/>
          <a:stretch>
            <a:fillRect/>
          </a:stretch>
        </p:blipFill>
        <p:spPr bwMode="auto">
          <a:xfrm>
            <a:off x="595470" y="327717"/>
            <a:ext cx="1837633" cy="365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1911691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47713" y="808038"/>
            <a:ext cx="5232400" cy="39243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34643" y="4961890"/>
            <a:ext cx="5656965" cy="423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169" tIns="45082" rIns="90169" bIns="450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206708" y="357944"/>
            <a:ext cx="1984900" cy="122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443017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imes New Roman" pitchFamily="18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13.08.2007</a:t>
            </a:r>
          </a:p>
        </p:txBody>
      </p:sp>
      <p:sp>
        <p:nvSpPr>
          <p:cNvPr id="2765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206708" y="542483"/>
            <a:ext cx="1984900" cy="127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defTabSz="443017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imes New Roman" pitchFamily="18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fld id="{89AEDF19-315C-4B28-B055-D39F796CCF3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8202" name="Rectangle 10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206708" y="450213"/>
            <a:ext cx="1984900" cy="1272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443017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imes New Roman" pitchFamily="18" charset="0"/>
              <a:buNone/>
              <a:defRPr sz="600"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Autor / Thema der Präsentation</a:t>
            </a:r>
          </a:p>
        </p:txBody>
      </p:sp>
      <p:pic>
        <p:nvPicPr>
          <p:cNvPr id="15367" name="Picture 12" descr="T_Kurzform_1K"/>
          <p:cNvPicPr>
            <a:picLocks noChangeAspect="1" noChangeArrowheads="1"/>
          </p:cNvPicPr>
          <p:nvPr/>
        </p:nvPicPr>
        <p:blipFill>
          <a:blip r:embed="rId2"/>
          <a:srcRect l="2573" t="23096" r="2733" b="23587"/>
          <a:stretch>
            <a:fillRect/>
          </a:stretch>
        </p:blipFill>
        <p:spPr bwMode="auto">
          <a:xfrm>
            <a:off x="595470" y="327717"/>
            <a:ext cx="1837633" cy="365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636149964"/>
      </p:ext>
    </p:extLst>
  </p:cSld>
  <p:clrMap bg1="lt1" tx1="dk1" bg2="lt2" tx2="dk2" accent1="accent1" accent2="accent2" accent3="accent3" accent4="accent4" accent5="accent5" accent6="accent6" hlink="hlink" folHlink="folHlink"/>
  <p:hf ftr="0"/>
  <p:notesStyle>
    <a:lvl1pPr marL="180975" indent="-180975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1pPr>
    <a:lvl2pPr marL="541338" indent="-203200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903288" indent="-192088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263650" indent="-190500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1625600" indent="-192088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9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r>
              <a:rPr lang="en-US"/>
              <a:t>02/23/2010</a:t>
            </a:r>
          </a:p>
        </p:txBody>
      </p:sp>
      <p:sp>
        <p:nvSpPr>
          <p:cNvPr id="409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76288" y="920750"/>
            <a:ext cx="5289550" cy="3967163"/>
          </a:xfrm>
          <a:ln/>
        </p:spPr>
      </p:sp>
      <p:sp>
        <p:nvSpPr>
          <p:cNvPr id="4096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5" Type="http://schemas.openxmlformats.org/officeDocument/2006/relationships/image" Target="../media/image2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gradFill rotWithShape="0">
          <a:gsLst>
            <a:gs pos="0">
              <a:schemeClr val="bg1"/>
            </a:gs>
            <a:gs pos="100000">
              <a:srgbClr val="99999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56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3922" name="think-cell Slide" r:id="rId4" imgW="0" imgH="0" progId="">
              <p:embed/>
            </p:oleObj>
          </a:graphicData>
        </a:graphic>
      </p:graphicFrame>
      <p:pic>
        <p:nvPicPr>
          <p:cNvPr id="5" name="Picture 2" descr="T_Label_4C_PPT_L_Slogan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06388" y="4597166"/>
            <a:ext cx="8532812" cy="1965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9" descr="T_PPT_Label_Slogan_HR_2"/>
          <p:cNvPicPr>
            <a:picLocks noChangeAspect="1" noChangeArrowheads="1"/>
          </p:cNvPicPr>
          <p:nvPr/>
        </p:nvPicPr>
        <p:blipFill>
          <a:blip r:embed="rId6" cstate="print"/>
          <a:srcRect r="84" b="948"/>
          <a:stretch>
            <a:fillRect/>
          </a:stretch>
        </p:blipFill>
        <p:spPr bwMode="gray">
          <a:xfrm>
            <a:off x="304800" y="5805488"/>
            <a:ext cx="8524875" cy="744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064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04800" y="4597166"/>
            <a:ext cx="8534400" cy="1194034"/>
          </a:xfrm>
        </p:spPr>
        <p:txBody>
          <a:bodyPr lIns="216000" tIns="126000"/>
          <a:lstStyle>
            <a:lvl1pPr>
              <a:defRPr sz="3200"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2406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04800" y="5486400"/>
            <a:ext cx="8534400" cy="304800"/>
          </a:xfrm>
        </p:spPr>
        <p:txBody>
          <a:bodyPr lIns="234000"/>
          <a:lstStyle>
            <a:lvl1pPr marL="0" indent="0">
              <a:buFont typeface="Wingdings" pitchFamily="2" charset="2"/>
              <a:buNone/>
              <a:defRPr sz="1600"/>
            </a:lvl1pPr>
          </a:lstStyle>
          <a:p>
            <a:r>
              <a:rPr lang="en-US"/>
              <a:t>Master-Untertitelformat bearbeiten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272338" y="0"/>
            <a:ext cx="9416338" cy="791914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0C6EB7-4234-4D68-9862-CDFF1BCED0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225425"/>
            <a:ext cx="2132013" cy="57181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225425"/>
            <a:ext cx="6248400" cy="57181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D6E1C7-77CE-41B6-AA8E-4433FD4074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25425"/>
            <a:ext cx="8532813" cy="900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304800" y="1268413"/>
            <a:ext cx="8532813" cy="4675187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B9BA11-38D0-48BD-97FE-50D2711B488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41D84C-0E11-409F-B0CF-AF8513F4648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9D2680-F819-4B27-BE0B-0B03BDB6700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268413"/>
            <a:ext cx="4189413" cy="4675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268413"/>
            <a:ext cx="4191000" cy="4675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E0DEF2-22C3-416C-9101-8453135AAC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55955-B013-46D8-99A6-C8B403CF85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C2613B-E237-4FC8-A594-6D30D209E1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B4A184-3729-44FE-B796-662292EB14F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A7A2A3-6C5B-4B4C-9D5A-31D03BED0F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5C106A-67EF-4943-A99E-EA310EF836C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AutoShape 57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55" name="think-cell Slide" r:id="rId19" imgW="0" imgH="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gray">
          <a:xfrm>
            <a:off x="304800" y="225425"/>
            <a:ext cx="8532813" cy="90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239621" name="Rectangle 5"/>
          <p:cNvSpPr>
            <a:spLocks noGrp="1" noChangeArrowheads="1"/>
          </p:cNvSpPr>
          <p:nvPr>
            <p:ph type="sldNum" sz="quarter" idx="4"/>
            <p:custDataLst>
              <p:tags r:id="rId16"/>
            </p:custDataLst>
          </p:nvPr>
        </p:nvSpPr>
        <p:spPr bwMode="auto">
          <a:xfrm>
            <a:off x="8301038" y="6602413"/>
            <a:ext cx="539750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900">
                <a:cs typeface="Arial" pitchFamily="34" charset="0"/>
              </a:defRPr>
            </a:lvl1pPr>
          </a:lstStyle>
          <a:p>
            <a:pPr>
              <a:defRPr/>
            </a:pPr>
            <a:fld id="{99B8E8B5-4EB7-4566-BF56-7F9ED040246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30" name="Picture 6" descr="T_Label_4C_PPT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0" cstate="print"/>
          <a:srcRect t="76456"/>
          <a:stretch>
            <a:fillRect/>
          </a:stretch>
        </p:blipFill>
        <p:spPr bwMode="auto">
          <a:xfrm>
            <a:off x="304800" y="5959475"/>
            <a:ext cx="8532813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1" name="Rectangle 7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gray">
          <a:xfrm>
            <a:off x="304800" y="1268413"/>
            <a:ext cx="8532813" cy="467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9pPr>
    </p:titleStyle>
    <p:bodyStyle>
      <a:lvl1pPr marL="222250" indent="-22225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669925" indent="-22225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1069975" indent="-220663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3pPr>
      <a:lvl4pPr marL="1387475" indent="-138113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4pPr>
      <a:lvl5pPr marL="1797050" indent="-230188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254250" indent="-23018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711450" indent="-23018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168650" indent="-23018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625850" indent="-23018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microsoft.com/office/2007/relationships/hdphoto" Target="../media/hdphoto1.wdp"/><Relationship Id="rId7" Type="http://schemas.openxmlformats.org/officeDocument/2006/relationships/image" Target="../media/image2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 bwMode="gray">
          <a:xfrm>
            <a:off x="360860" y="4151679"/>
            <a:ext cx="8458063" cy="85440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234000" tIns="0" rIns="0" bIns="0" numCol="1" anchor="t" anchorCtr="0" compatLnSpc="1">
            <a:prstTxWarp prst="textNoShape">
              <a:avLst/>
            </a:prstTxWarp>
          </a:bodyPr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defRPr/>
            </a:pPr>
            <a:r>
              <a:rPr lang="hr-HR" sz="1600" dirty="0" smtClean="0"/>
              <a:t> </a:t>
            </a:r>
            <a:r>
              <a:rPr lang="hr-HR" sz="1600" kern="0" dirty="0" smtClean="0">
                <a:solidFill>
                  <a:srgbClr val="000000"/>
                </a:solidFill>
                <a:latin typeface="+mn-lt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kumimoji="0" lang="hr-H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endParaRPr kumimoji="0" lang="hr-HR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0857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4841" y="4233464"/>
            <a:ext cx="4533899" cy="1481134"/>
          </a:xfrm>
        </p:spPr>
        <p:txBody>
          <a:bodyPr/>
          <a:lstStyle/>
          <a:p>
            <a:r>
              <a:rPr lang="hr-HR" dirty="0" smtClean="0"/>
              <a:t>HT </a:t>
            </a:r>
            <a:r>
              <a:rPr lang="hr-HR" dirty="0" smtClean="0"/>
              <a:t>usluge u Oblaku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/>
            </a:r>
            <a:b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gray">
          <a:xfrm>
            <a:off x="364173" y="5006085"/>
            <a:ext cx="8461375" cy="2889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23400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hr-HR" sz="1600" kern="0" dirty="0" smtClean="0">
                <a:latin typeface="+mn-lt"/>
                <a:cs typeface="+mn-cs"/>
              </a:rPr>
              <a:t>Ivan Cicvara</a:t>
            </a:r>
            <a:endParaRPr kumimoji="0" lang="en-US" sz="1600" b="0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gray">
          <a:xfrm>
            <a:off x="360860" y="5274861"/>
            <a:ext cx="8461375" cy="2889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234000" tIns="0" rIns="0" bIns="0" numCol="1" anchor="t" anchorCtr="0" compatLnSpc="1">
            <a:prstTxWarp prst="textNoShape">
              <a:avLst/>
            </a:prstTxWarp>
          </a:bodyPr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cs typeface="+mn-cs"/>
              </a:rPr>
              <a:t>Department: </a:t>
            </a:r>
            <a:r>
              <a:rPr lang="en-US" sz="1600" dirty="0" smtClean="0"/>
              <a:t>Information and Communication Technologies Business Solutions Sector (ICT)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153405" y="5061571"/>
            <a:ext cx="655923" cy="502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08966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B41D84C-0E11-409F-B0CF-AF8513F4648F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8557" y="433878"/>
            <a:ext cx="7607202" cy="55380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154627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3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="" xmlns:a14="http://schemas.microsoft.com/office/drawing/2010/main">
                  <a14:imgLayer r:embed="rId3">
                    <a14:imgEffect>
                      <a14:brightnessContrast bright="21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965" y="69743"/>
            <a:ext cx="2429293" cy="1821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 err="1" smtClean="0"/>
              <a:t>Cloud</a:t>
            </a:r>
            <a:r>
              <a:rPr lang="hr-HR" dirty="0" smtClean="0"/>
              <a:t> GTM </a:t>
            </a:r>
            <a:r>
              <a:rPr lang="en-US" dirty="0" smtClean="0"/>
              <a:t>Strategy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0134" y="1268413"/>
            <a:ext cx="4527868" cy="4675187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Three screens approac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B41D84C-0E11-409F-B0CF-AF8513F4648F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062027" y="3914410"/>
            <a:ext cx="1606058" cy="1743674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9" name="TextBox 8"/>
          <p:cNvSpPr txBox="1"/>
          <p:nvPr/>
        </p:nvSpPr>
        <p:spPr>
          <a:xfrm>
            <a:off x="539532" y="4480402"/>
            <a:ext cx="11239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400" b="1" dirty="0" err="1" smtClean="0"/>
              <a:t>Corpo</a:t>
            </a:r>
            <a:r>
              <a:rPr lang="hr-HR" sz="1400" b="1" dirty="0" smtClean="0"/>
              <a:t> Web</a:t>
            </a:r>
            <a:endParaRPr lang="en-US" sz="14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2289435" y="5346363"/>
            <a:ext cx="1317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err="1" smtClean="0"/>
              <a:t>Cloud</a:t>
            </a:r>
            <a:r>
              <a:rPr lang="hr-HR" b="1" dirty="0" smtClean="0"/>
              <a:t> </a:t>
            </a:r>
            <a:r>
              <a:rPr lang="hr-HR" b="1" dirty="0" err="1" smtClean="0"/>
              <a:t>App</a:t>
            </a:r>
            <a:r>
              <a:rPr lang="hr-HR" b="1" dirty="0" smtClean="0"/>
              <a:t> </a:t>
            </a:r>
            <a:r>
              <a:rPr lang="hr-HR" b="1" dirty="0" err="1" smtClean="0"/>
              <a:t>Store</a:t>
            </a:r>
            <a:endParaRPr lang="en-US" sz="14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4670001" y="5776788"/>
            <a:ext cx="5285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/>
              <a:t>SSO</a:t>
            </a:r>
            <a:endParaRPr lang="en-US" sz="1400" b="1" dirty="0"/>
          </a:p>
        </p:txBody>
      </p:sp>
      <p:sp>
        <p:nvSpPr>
          <p:cNvPr id="12" name="Content Placeholder 2"/>
          <p:cNvSpPr txBox="1">
            <a:spLocks/>
          </p:cNvSpPr>
          <p:nvPr/>
        </p:nvSpPr>
        <p:spPr bwMode="gray">
          <a:xfrm>
            <a:off x="6180667" y="1329957"/>
            <a:ext cx="2746269" cy="467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22250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9925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1069975" indent="-22066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3pPr>
            <a:lvl4pPr marL="1387475" indent="-13811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4pPr>
            <a:lvl5pPr marL="1797050" indent="-230188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2254250" indent="-230188" algn="l" rtl="0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711450" indent="-230188" algn="l" rtl="0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168650" indent="-230188" algn="l" rtl="0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625850" indent="-230188" algn="l" rtl="0"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hr-HR" dirty="0" smtClean="0"/>
              <a:t>Service </a:t>
            </a:r>
            <a:r>
              <a:rPr lang="en-US" dirty="0" smtClean="0"/>
              <a:t>Delivery</a:t>
            </a:r>
            <a:endParaRPr lang="en-US" dirty="0"/>
          </a:p>
        </p:txBody>
      </p:sp>
      <p:pic>
        <p:nvPicPr>
          <p:cNvPr id="43012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9995" y="3866295"/>
            <a:ext cx="2348286" cy="1467245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7243868" y="5482956"/>
            <a:ext cx="8333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/>
              <a:t>ClearPath</a:t>
            </a:r>
            <a:endParaRPr lang="en-US" sz="1400" b="1" dirty="0"/>
          </a:p>
        </p:txBody>
      </p:sp>
      <p:cxnSp>
        <p:nvCxnSpPr>
          <p:cNvPr id="15" name="Straight Connector 14"/>
          <p:cNvCxnSpPr/>
          <p:nvPr/>
        </p:nvCxnSpPr>
        <p:spPr bwMode="auto">
          <a:xfrm>
            <a:off x="5855482" y="1268413"/>
            <a:ext cx="0" cy="4675187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rgbClr val="FF0000">
                <a:alpha val="43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43011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053" y="2947373"/>
            <a:ext cx="1382913" cy="1284985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220132" y="1661123"/>
            <a:ext cx="20404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ite with all relevant information: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ervic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ricing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erms and condition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arketing materials</a:t>
            </a:r>
            <a:endParaRPr lang="en-US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19" name="Picture 2" descr="C:\Users\zcrncevic\Documents\T-Com i DT grupa\tCloud Marketing\RZ TelekomCloud\RZ_CatIcon_TelekomClou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00" y="260648"/>
            <a:ext cx="720079" cy="72008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2111712" y="1958778"/>
            <a:ext cx="20404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Web shop for all ICT products an</a:t>
            </a:r>
            <a:r>
              <a:rPr lang="hr-HR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d</a:t>
            </a: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services: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elf provisioning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Xsell</a:t>
            </a: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and Upsell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entral touch point with customers</a:t>
            </a:r>
            <a:endParaRPr lang="en-US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047707" y="2348881"/>
            <a:ext cx="170782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ingle sign on: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ll services accessed from same URL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ne pass and username for all servic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ulti level approach (Super, Admin, User)</a:t>
            </a:r>
            <a:endParaRPr lang="en-US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180667" y="1764840"/>
            <a:ext cx="248761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learPath platform: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asy and automatic deployment of Hybrid Cloud, VPN over any network, Security Servic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Full self provisioning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Network agnostic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elf installatio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onnects </a:t>
            </a:r>
            <a:r>
              <a:rPr lang="hr-HR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otal </a:t>
            </a: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ustomers networks,  PCs,  mobile devices (</a:t>
            </a:r>
            <a:r>
              <a:rPr lang="en-US" sz="12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iOS</a:t>
            </a: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, </a:t>
            </a:r>
            <a:r>
              <a:rPr lang="en-US" sz="12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ndorid</a:t>
            </a: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) into VPN</a:t>
            </a:r>
            <a:endParaRPr lang="en-US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7" name="Picture 6" descr="T-Hrvatski Telekom Marketplace - mogući izgled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145119" y="3302935"/>
            <a:ext cx="1537420" cy="1910910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</p:spTree>
    <p:extLst>
      <p:ext uri="{BB962C8B-B14F-4D97-AF65-F5344CB8AC3E}">
        <p14:creationId xmlns="" xmlns:p14="http://schemas.microsoft.com/office/powerpoint/2010/main" val="2766674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301038" y="6602413"/>
            <a:ext cx="539750" cy="14446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9104F4D-C4E1-4D72-8E67-F8CF09F35951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386228" y="1785926"/>
            <a:ext cx="3214710" cy="257176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hr-HR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hr-HR" sz="36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  <a:r>
              <a:rPr kumimoji="0" lang="hr-HR" sz="3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hr-HR" sz="36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oud</a:t>
            </a:r>
            <a:endParaRPr kumimoji="0" lang="hr-HR" sz="3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hr-HR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hr-HR" sz="2000" b="0" i="0" u="none" strike="noStrike" kern="0" cap="none" spc="0" normalizeH="0" baseline="0" noProof="0" dirty="0" smtClean="0">
              <a:ln>
                <a:noFill/>
              </a:ln>
              <a:solidFill>
                <a:srgbClr val="E2007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hr-HR" sz="2000" b="0" i="0" u="none" strike="noStrike" kern="0" cap="none" spc="0" normalizeH="0" baseline="0" noProof="0" dirty="0">
              <a:ln>
                <a:noFill/>
              </a:ln>
              <a:solidFill>
                <a:srgbClr val="E2007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90978" y="571480"/>
            <a:ext cx="7761600" cy="642938"/>
          </a:xfrm>
          <a:prstGeom prst="rect">
            <a:avLst/>
          </a:prstGeom>
        </p:spPr>
        <p:txBody>
          <a:bodyPr/>
          <a:lstStyle/>
          <a:p>
            <a:pPr marL="223838" marR="0" lvl="0" indent="-223838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hr-HR" sz="3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trebe korisnika</a:t>
            </a:r>
            <a:endParaRPr kumimoji="0" lang="hr-HR" sz="3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86248" y="1785926"/>
            <a:ext cx="4431592" cy="3786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301038" y="6602413"/>
            <a:ext cx="539750" cy="14446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9104F4D-C4E1-4D72-8E67-F8CF09F35951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371446" y="1785926"/>
            <a:ext cx="3143272" cy="257176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hr-HR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hr-HR" sz="36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ivate</a:t>
            </a:r>
            <a:r>
              <a:rPr kumimoji="0" lang="hr-HR" sz="3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hr-HR" sz="36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oud</a:t>
            </a:r>
            <a:endParaRPr kumimoji="0" lang="hr-HR" sz="3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hr-HR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hr-HR" sz="2000" b="0" i="0" u="none" strike="noStrike" kern="0" cap="none" spc="0" normalizeH="0" baseline="0" noProof="0" dirty="0" smtClean="0">
              <a:ln>
                <a:noFill/>
              </a:ln>
              <a:solidFill>
                <a:srgbClr val="E2007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hr-HR" sz="2000" b="0" i="0" u="none" strike="noStrike" kern="0" cap="none" spc="0" normalizeH="0" baseline="0" noProof="0" dirty="0">
              <a:ln>
                <a:noFill/>
              </a:ln>
              <a:solidFill>
                <a:srgbClr val="E2007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85720" y="571480"/>
            <a:ext cx="7761600" cy="642938"/>
          </a:xfrm>
          <a:prstGeom prst="rect">
            <a:avLst/>
          </a:prstGeom>
        </p:spPr>
        <p:txBody>
          <a:bodyPr/>
          <a:lstStyle/>
          <a:p>
            <a:pPr marL="223838" marR="0" lvl="0" indent="-223838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hr-HR" sz="3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trebe korisnika</a:t>
            </a:r>
            <a:endParaRPr kumimoji="0" lang="hr-HR" sz="3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71934" y="1928802"/>
            <a:ext cx="4681549" cy="3551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301038" y="6602413"/>
            <a:ext cx="539750" cy="14446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9104F4D-C4E1-4D72-8E67-F8CF09F35951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376209" y="1595426"/>
            <a:ext cx="3143272" cy="1214446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hr-HR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hr-HR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hr-HR" sz="4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ybrid</a:t>
            </a:r>
            <a:r>
              <a:rPr kumimoji="0" lang="hr-HR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hr-HR" sz="4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oud</a:t>
            </a:r>
            <a:endParaRPr kumimoji="0" lang="hr-HR" sz="4000" b="0" i="0" u="none" strike="noStrike" kern="0" cap="none" spc="0" normalizeH="0" baseline="0" noProof="0" dirty="0" smtClean="0">
              <a:ln>
                <a:noFill/>
              </a:ln>
              <a:solidFill>
                <a:srgbClr val="E2007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hr-HR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hr-HR" sz="2000" b="0" i="0" u="none" strike="noStrike" kern="0" cap="none" spc="0" normalizeH="0" baseline="0" noProof="0" dirty="0" smtClean="0">
              <a:ln>
                <a:noFill/>
              </a:ln>
              <a:solidFill>
                <a:srgbClr val="E2007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hr-HR" sz="2000" b="0" i="0" u="none" strike="noStrike" kern="0" cap="none" spc="0" normalizeH="0" baseline="0" noProof="0" dirty="0">
              <a:ln>
                <a:noFill/>
              </a:ln>
              <a:solidFill>
                <a:srgbClr val="E2007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85720" y="576244"/>
            <a:ext cx="7761600" cy="642938"/>
          </a:xfrm>
          <a:prstGeom prst="rect">
            <a:avLst/>
          </a:prstGeom>
        </p:spPr>
        <p:txBody>
          <a:bodyPr/>
          <a:lstStyle/>
          <a:p>
            <a:pPr marL="223838" marR="0" lvl="0" indent="-223838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hr-HR" sz="3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trebe korisnika</a:t>
            </a:r>
            <a:endParaRPr kumimoji="0" lang="hr-HR" sz="3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9" name="Picture 2" descr="http://www.exponential-e.com/img/private-cloud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43240" y="1857364"/>
            <a:ext cx="5751768" cy="3857652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301038" y="6602413"/>
            <a:ext cx="539750" cy="14446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9104F4D-C4E1-4D72-8E67-F8CF09F35951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285720" y="285728"/>
            <a:ext cx="7761600" cy="642938"/>
          </a:xfrm>
          <a:prstGeom prst="rect">
            <a:avLst/>
          </a:prstGeom>
        </p:spPr>
        <p:txBody>
          <a:bodyPr/>
          <a:lstStyle/>
          <a:p>
            <a:pPr marL="223838" marR="0" lvl="0" indent="-223838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hr-HR" sz="3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Što donosi </a:t>
            </a:r>
            <a:r>
              <a:rPr kumimoji="0" lang="hr-HR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T </a:t>
            </a:r>
            <a:r>
              <a:rPr kumimoji="0" lang="hr-HR" sz="3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ybrid</a:t>
            </a:r>
            <a:r>
              <a:rPr kumimoji="0" lang="hr-HR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hr-HR" sz="3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oud</a:t>
            </a:r>
            <a:endParaRPr kumimoji="0" lang="hr-HR" sz="3200" b="0" i="0" u="none" strike="noStrike" kern="0" cap="none" spc="0" normalizeH="0" baseline="0" noProof="0" dirty="0">
              <a:ln>
                <a:noFill/>
              </a:ln>
              <a:solidFill>
                <a:srgbClr val="E2007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8596" y="1071546"/>
            <a:ext cx="7429552" cy="46244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buFont typeface="Arial" pitchFamily="34" charset="0"/>
              <a:buChar char="•"/>
            </a:pPr>
            <a:endParaRPr lang="hr-HR" dirty="0" smtClean="0"/>
          </a:p>
          <a:p>
            <a:r>
              <a:rPr lang="hr-HR" sz="2400" dirty="0" smtClean="0"/>
              <a:t>Usluga omogućuje korisnicima da na krajnje jednostavan način mogu koristiti sve </a:t>
            </a:r>
            <a:r>
              <a:rPr lang="hr-HR" sz="2400" dirty="0" err="1" smtClean="0"/>
              <a:t>benefite</a:t>
            </a:r>
            <a:r>
              <a:rPr lang="hr-HR" sz="2400" dirty="0" smtClean="0"/>
              <a:t> HT </a:t>
            </a:r>
            <a:r>
              <a:rPr lang="hr-HR" sz="2400" dirty="0" err="1" smtClean="0"/>
              <a:t>Cloud</a:t>
            </a:r>
            <a:r>
              <a:rPr lang="hr-HR" sz="2400" dirty="0" smtClean="0"/>
              <a:t>-a.</a:t>
            </a:r>
          </a:p>
          <a:p>
            <a:pPr lvl="1">
              <a:buFont typeface="Arial" pitchFamily="34" charset="0"/>
              <a:buChar char="•"/>
            </a:pPr>
            <a:r>
              <a:rPr lang="hr-HR" sz="2400" dirty="0" smtClean="0"/>
              <a:t>Korištenje u kombinaciji </a:t>
            </a:r>
            <a:r>
              <a:rPr lang="hr-HR" sz="2400" b="1" dirty="0" smtClean="0"/>
              <a:t>s bilo kojim dijelom </a:t>
            </a:r>
            <a:r>
              <a:rPr lang="hr-HR" sz="2400" dirty="0" smtClean="0"/>
              <a:t>svoje infrastrukture </a:t>
            </a:r>
          </a:p>
          <a:p>
            <a:pPr lvl="1">
              <a:buFont typeface="Arial" pitchFamily="34" charset="0"/>
              <a:buChar char="•"/>
            </a:pPr>
            <a:r>
              <a:rPr lang="hr-HR" sz="2400" dirty="0" smtClean="0"/>
              <a:t>Povećanu sigurnost</a:t>
            </a:r>
          </a:p>
          <a:p>
            <a:pPr lvl="2">
              <a:buFont typeface="Arial" pitchFamily="34" charset="0"/>
              <a:buChar char="•"/>
            </a:pPr>
            <a:r>
              <a:rPr lang="hr-HR" sz="2400" dirty="0" err="1" smtClean="0"/>
              <a:t>Antivirus</a:t>
            </a:r>
            <a:endParaRPr lang="hr-HR" sz="2400" dirty="0" smtClean="0"/>
          </a:p>
          <a:p>
            <a:pPr lvl="2">
              <a:buFont typeface="Arial" pitchFamily="34" charset="0"/>
              <a:buChar char="•"/>
            </a:pPr>
            <a:r>
              <a:rPr lang="hr-HR" sz="2400" dirty="0" err="1" smtClean="0"/>
              <a:t>Firewall</a:t>
            </a:r>
            <a:endParaRPr lang="hr-HR" sz="2400" dirty="0" smtClean="0"/>
          </a:p>
          <a:p>
            <a:pPr lvl="2">
              <a:buFont typeface="Arial" pitchFamily="34" charset="0"/>
              <a:buChar char="•"/>
            </a:pPr>
            <a:r>
              <a:rPr lang="hr-HR" sz="2400" dirty="0" err="1" smtClean="0"/>
              <a:t>Enkriptirana</a:t>
            </a:r>
            <a:r>
              <a:rPr lang="hr-HR" sz="2400" dirty="0" smtClean="0"/>
              <a:t> VPN konekcija</a:t>
            </a:r>
          </a:p>
          <a:p>
            <a:pPr lvl="1">
              <a:buFont typeface="Arial" pitchFamily="34" charset="0"/>
              <a:buChar char="•"/>
            </a:pPr>
            <a:r>
              <a:rPr lang="hr-HR" sz="2400" dirty="0" smtClean="0"/>
              <a:t>Bez potrebe za kompliciranim tehničkim prilagodbama</a:t>
            </a:r>
          </a:p>
          <a:p>
            <a:pPr lvl="1">
              <a:buFont typeface="Arial" pitchFamily="34" charset="0"/>
              <a:buChar char="•"/>
            </a:pPr>
            <a:r>
              <a:rPr lang="hr-HR" sz="2400" dirty="0" smtClean="0"/>
              <a:t>Bez skupih investicija</a:t>
            </a:r>
          </a:p>
          <a:p>
            <a:pPr lvl="1">
              <a:buFont typeface="Arial" pitchFamily="34" charset="0"/>
              <a:buChar char="•"/>
            </a:pPr>
            <a:endParaRPr lang="hr-HR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301038" y="6602413"/>
            <a:ext cx="539750" cy="14446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9104F4D-C4E1-4D72-8E67-F8CF09F35951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285720" y="214290"/>
            <a:ext cx="7761600" cy="642938"/>
          </a:xfrm>
          <a:prstGeom prst="rect">
            <a:avLst/>
          </a:prstGeom>
        </p:spPr>
        <p:txBody>
          <a:bodyPr/>
          <a:lstStyle/>
          <a:p>
            <a:pPr marL="223838" marR="0" lvl="0" indent="-223838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hr-HR" sz="3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ako do usluge?</a:t>
            </a:r>
            <a:endParaRPr kumimoji="0" lang="hr-HR" sz="3200" b="0" i="0" u="none" strike="noStrike" kern="0" cap="none" spc="0" normalizeH="0" baseline="0" noProof="0" dirty="0">
              <a:ln>
                <a:noFill/>
              </a:ln>
              <a:solidFill>
                <a:srgbClr val="E2007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8596" y="857228"/>
            <a:ext cx="7429552" cy="501017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buFont typeface="Arial" pitchFamily="34" charset="0"/>
              <a:buChar char="•"/>
            </a:pPr>
            <a:endParaRPr lang="hr-HR" dirty="0" smtClean="0"/>
          </a:p>
          <a:p>
            <a:pPr>
              <a:buFont typeface="Arial" pitchFamily="34" charset="0"/>
              <a:buChar char="•"/>
            </a:pPr>
            <a:r>
              <a:rPr lang="hr-HR" sz="2400" dirty="0" smtClean="0"/>
              <a:t>Korisnik podnosi samo Zahtjev na kojem bira s kojim HT </a:t>
            </a:r>
            <a:r>
              <a:rPr lang="hr-HR" sz="2400" dirty="0" err="1" smtClean="0"/>
              <a:t>Cloud</a:t>
            </a:r>
            <a:r>
              <a:rPr lang="hr-HR" sz="2400" dirty="0" smtClean="0"/>
              <a:t> servisima želi povezati svoju lokaciju/lokacije</a:t>
            </a:r>
            <a:endParaRPr lang="hr-HR" sz="2400" b="1" dirty="0" smtClean="0"/>
          </a:p>
          <a:p>
            <a:pPr>
              <a:buFont typeface="Arial" pitchFamily="34" charset="0"/>
              <a:buChar char="•"/>
            </a:pPr>
            <a:r>
              <a:rPr lang="hr-HR" sz="2400" dirty="0" smtClean="0"/>
              <a:t>Sa zahtjevom dobije </a:t>
            </a:r>
            <a:r>
              <a:rPr lang="hr-HR" sz="2400" dirty="0" err="1" smtClean="0"/>
              <a:t>Admin</a:t>
            </a:r>
            <a:r>
              <a:rPr lang="hr-HR" sz="2400" dirty="0" smtClean="0"/>
              <a:t> </a:t>
            </a:r>
            <a:r>
              <a:rPr lang="hr-HR" sz="2400" dirty="0" err="1" smtClean="0"/>
              <a:t>account</a:t>
            </a:r>
            <a:r>
              <a:rPr lang="hr-HR" sz="2400" dirty="0" smtClean="0"/>
              <a:t> – </a:t>
            </a:r>
            <a:r>
              <a:rPr lang="hr-HR" sz="2400" b="1" dirty="0" err="1" smtClean="0"/>
              <a:t>Self</a:t>
            </a:r>
            <a:r>
              <a:rPr lang="hr-HR" sz="2400" b="1" dirty="0" smtClean="0"/>
              <a:t> service portali</a:t>
            </a:r>
          </a:p>
          <a:p>
            <a:pPr lvl="1">
              <a:buFont typeface="Arial" pitchFamily="34" charset="0"/>
              <a:buChar char="•"/>
            </a:pPr>
            <a:r>
              <a:rPr lang="hr-HR" sz="2400" dirty="0" smtClean="0"/>
              <a:t>Dodavanje lokacije u VPN</a:t>
            </a:r>
          </a:p>
          <a:p>
            <a:pPr lvl="1">
              <a:buFont typeface="Arial" pitchFamily="34" charset="0"/>
              <a:buChar char="•"/>
            </a:pPr>
            <a:r>
              <a:rPr lang="hr-HR" sz="2400" dirty="0" smtClean="0"/>
              <a:t>Kreiranje pod korisnika</a:t>
            </a:r>
          </a:p>
          <a:p>
            <a:pPr lvl="1">
              <a:buFont typeface="Arial" pitchFamily="34" charset="0"/>
              <a:buChar char="•"/>
            </a:pPr>
            <a:r>
              <a:rPr lang="hr-HR" sz="2400" dirty="0" smtClean="0"/>
              <a:t>Nadzor lokacija/mreže/prometa</a:t>
            </a:r>
          </a:p>
          <a:p>
            <a:pPr lvl="1">
              <a:buFont typeface="Arial" pitchFamily="34" charset="0"/>
              <a:buChar char="•"/>
            </a:pPr>
            <a:r>
              <a:rPr lang="hr-HR" sz="2400" dirty="0" smtClean="0"/>
              <a:t>Aktivacija usluga/opreme</a:t>
            </a:r>
          </a:p>
          <a:p>
            <a:r>
              <a:rPr lang="hr-HR" sz="2400" dirty="0" smtClean="0"/>
              <a:t>Oprema na korisničkoj lokaciji može biti:</a:t>
            </a:r>
          </a:p>
          <a:p>
            <a:endParaRPr lang="hr-HR" sz="2400" dirty="0" smtClean="0"/>
          </a:p>
          <a:p>
            <a:pPr>
              <a:buFont typeface="Arial" pitchFamily="34" charset="0"/>
              <a:buChar char="•"/>
            </a:pPr>
            <a:r>
              <a:rPr lang="hr-HR" sz="2400" dirty="0" smtClean="0"/>
              <a:t>Fizički uređaj (CPE)</a:t>
            </a:r>
          </a:p>
          <a:p>
            <a:pPr>
              <a:buFont typeface="Arial" pitchFamily="34" charset="0"/>
              <a:buChar char="•"/>
            </a:pPr>
            <a:r>
              <a:rPr lang="hr-HR" sz="2400" dirty="0" smtClean="0"/>
              <a:t>SW klijent</a:t>
            </a:r>
          </a:p>
          <a:p>
            <a:pPr lvl="1">
              <a:buFont typeface="Arial" pitchFamily="34" charset="0"/>
              <a:buChar char="•"/>
            </a:pPr>
            <a:endParaRPr lang="hr-HR" dirty="0" smtClean="0"/>
          </a:p>
          <a:p>
            <a:pPr>
              <a:buFont typeface="Arial" pitchFamily="34" charset="0"/>
              <a:buChar char="•"/>
            </a:pPr>
            <a:endParaRPr lang="hr-HR" dirty="0" smtClean="0"/>
          </a:p>
          <a:p>
            <a:pPr lvl="1">
              <a:buFont typeface="Arial" pitchFamily="34" charset="0"/>
              <a:buChar char="•"/>
            </a:pPr>
            <a:endParaRPr lang="hr-HR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301038" y="6602413"/>
            <a:ext cx="539750" cy="14446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9104F4D-C4E1-4D72-8E67-F8CF09F35951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285720" y="214290"/>
            <a:ext cx="7761600" cy="642938"/>
          </a:xfrm>
          <a:prstGeom prst="rect">
            <a:avLst/>
          </a:prstGeom>
        </p:spPr>
        <p:txBody>
          <a:bodyPr/>
          <a:lstStyle/>
          <a:p>
            <a:pPr marL="223838" marR="0" lvl="0" indent="-223838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hr-HR" sz="3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ako to zapravo izgleda?</a:t>
            </a:r>
            <a:endParaRPr kumimoji="0" lang="hr-HR" sz="3200" b="0" i="0" u="none" strike="noStrike" kern="0" cap="none" spc="0" normalizeH="0" baseline="0" noProof="0" dirty="0">
              <a:ln>
                <a:noFill/>
              </a:ln>
              <a:solidFill>
                <a:srgbClr val="E2007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85852" y="1214422"/>
            <a:ext cx="6715172" cy="4744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 smtClean="0"/>
              <a:t>Pitanja</a:t>
            </a:r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B41D84C-0E11-409F-B0CF-AF8513F4648F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pic>
        <p:nvPicPr>
          <p:cNvPr id="5" name="Picture 2" descr="http://t0.gstatic.com/images?q=tbn:ANd9GcSeTJg7c2TPuoIlpmHmeKvDINHlkUfo1VAC4gE3EUq7AGRPNoDEgw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43808" y="1916832"/>
            <a:ext cx="3240360" cy="4046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67472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 smtClean="0"/>
              <a:t>Uvod</a:t>
            </a:r>
            <a:endParaRPr lang="hr-H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r-HR" sz="2400" dirty="0" err="1"/>
              <a:t>Apple</a:t>
            </a:r>
            <a:r>
              <a:rPr lang="hr-HR" sz="2400" dirty="0"/>
              <a:t> i </a:t>
            </a:r>
            <a:r>
              <a:rPr lang="hr-HR" sz="2400" dirty="0" err="1"/>
              <a:t>Goolgle</a:t>
            </a:r>
            <a:r>
              <a:rPr lang="hr-HR" sz="2400" dirty="0"/>
              <a:t> dućani s aplikacijama za pametne telefone i tablete su odavno poznata stvar, međutim tržište je postavilo očekivanje za iste takve dućane u oblaku koji će služiti za kupovinu PC i </a:t>
            </a:r>
            <a:r>
              <a:rPr lang="hr-HR" sz="2400" dirty="0" err="1"/>
              <a:t>SaaS</a:t>
            </a:r>
            <a:r>
              <a:rPr lang="hr-HR" sz="2400" dirty="0"/>
              <a:t> aplikacija. </a:t>
            </a:r>
            <a:endParaRPr lang="hr-HR" sz="2400" dirty="0" smtClean="0"/>
          </a:p>
          <a:p>
            <a:endParaRPr lang="hr-HR" dirty="0"/>
          </a:p>
          <a:p>
            <a:endParaRPr lang="hr-HR" dirty="0"/>
          </a:p>
          <a:p>
            <a:r>
              <a:rPr lang="hr-HR" sz="2400" dirty="0"/>
              <a:t>HT se orijentirao na </a:t>
            </a:r>
            <a:r>
              <a:rPr lang="hr-HR" sz="2400" dirty="0" err="1"/>
              <a:t>Cloud</a:t>
            </a:r>
            <a:r>
              <a:rPr lang="hr-HR" sz="2400" dirty="0"/>
              <a:t> Marketplace sa modelom “</a:t>
            </a:r>
            <a:r>
              <a:rPr lang="hr-HR" sz="2400" dirty="0" err="1"/>
              <a:t>click</a:t>
            </a:r>
            <a:r>
              <a:rPr lang="hr-HR" sz="2400" dirty="0"/>
              <a:t> </a:t>
            </a:r>
            <a:r>
              <a:rPr lang="hr-HR" sz="2400" dirty="0" err="1"/>
              <a:t>and</a:t>
            </a:r>
            <a:r>
              <a:rPr lang="hr-HR" sz="2400" dirty="0"/>
              <a:t> </a:t>
            </a:r>
            <a:r>
              <a:rPr lang="hr-HR" sz="2400" dirty="0" err="1"/>
              <a:t>run</a:t>
            </a:r>
            <a:r>
              <a:rPr lang="hr-HR" sz="2400" dirty="0"/>
              <a:t>” što znači da nema instalacije čak ni klasičnih aplikacija, a uz SSO funkcionalnost pristup </a:t>
            </a:r>
            <a:r>
              <a:rPr lang="hr-HR" sz="2400" dirty="0" err="1"/>
              <a:t>SaaS</a:t>
            </a:r>
            <a:r>
              <a:rPr lang="hr-HR" sz="2400" dirty="0"/>
              <a:t> uslugama će biti znatno lakši</a:t>
            </a:r>
          </a:p>
          <a:p>
            <a:pPr marL="0" indent="0">
              <a:buNone/>
            </a:pPr>
            <a:endParaRPr lang="hr-HR" sz="2800" dirty="0"/>
          </a:p>
          <a:p>
            <a:pPr marL="0" indent="0">
              <a:buNone/>
            </a:pPr>
            <a:endParaRPr lang="hr-HR" dirty="0"/>
          </a:p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B41D84C-0E11-409F-B0CF-AF8513F4648F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pic>
        <p:nvPicPr>
          <p:cNvPr id="542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9450" y="4269841"/>
            <a:ext cx="2184738" cy="16017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056553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 smtClean="0"/>
              <a:t>Što kažu istraživanja</a:t>
            </a:r>
            <a:endParaRPr lang="hr-H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r-HR" sz="2400" dirty="0"/>
              <a:t>Od zahtjeva za aplikaciju do realizacije (instalacije na računalo) 52% korisnika čeka 7 ili više dana (</a:t>
            </a:r>
            <a:r>
              <a:rPr lang="hr-HR" sz="2400" dirty="0" err="1"/>
              <a:t>Vanson</a:t>
            </a:r>
            <a:r>
              <a:rPr lang="hr-HR" sz="2400" dirty="0"/>
              <a:t> </a:t>
            </a:r>
            <a:r>
              <a:rPr lang="hr-HR" sz="2400" dirty="0" err="1"/>
              <a:t>Bourne</a:t>
            </a:r>
            <a:r>
              <a:rPr lang="hr-HR" sz="2400" dirty="0"/>
              <a:t>, August 2010</a:t>
            </a:r>
            <a:r>
              <a:rPr lang="hr-HR" sz="2400" dirty="0" smtClean="0"/>
              <a:t>)</a:t>
            </a:r>
          </a:p>
          <a:p>
            <a:endParaRPr lang="hr-HR" sz="2400" dirty="0"/>
          </a:p>
          <a:p>
            <a:r>
              <a:rPr lang="hr-HR" sz="2400" dirty="0"/>
              <a:t> 40% gore navedenih je moralo raditi požurnice po zahtjevu, a 15% nikad nije dobilo traženu </a:t>
            </a:r>
            <a:r>
              <a:rPr lang="hr-HR" sz="2400" dirty="0" smtClean="0"/>
              <a:t>aplikaciju</a:t>
            </a:r>
          </a:p>
          <a:p>
            <a:endParaRPr lang="hr-HR" sz="2400" dirty="0"/>
          </a:p>
          <a:p>
            <a:r>
              <a:rPr lang="hr-HR" sz="2400" dirty="0"/>
              <a:t> 100 $ - prosječna dnevna cijena neiskorištenih aplikacija u prosječnoj </a:t>
            </a:r>
            <a:r>
              <a:rPr lang="hr-HR" sz="2400" dirty="0" smtClean="0"/>
              <a:t>kompaniji</a:t>
            </a:r>
          </a:p>
          <a:p>
            <a:pPr marL="0" indent="0">
              <a:buNone/>
            </a:pPr>
            <a:endParaRPr lang="hr-HR" sz="2400" dirty="0"/>
          </a:p>
          <a:p>
            <a:r>
              <a:rPr lang="hr-HR" sz="2400" dirty="0"/>
              <a:t> ¾ kompanija je priznalo da ima neiskorištene licence i da u njihovim kompanijama postoji tzv. “</a:t>
            </a:r>
            <a:r>
              <a:rPr lang="hr-HR" sz="2400" dirty="0" err="1"/>
              <a:t>software</a:t>
            </a:r>
            <a:r>
              <a:rPr lang="hr-HR" sz="2400" dirty="0"/>
              <a:t> </a:t>
            </a:r>
            <a:r>
              <a:rPr lang="hr-HR" sz="2400" dirty="0" err="1"/>
              <a:t>waste</a:t>
            </a:r>
            <a:r>
              <a:rPr lang="hr-HR" sz="2400" dirty="0"/>
              <a:t>”</a:t>
            </a:r>
          </a:p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B41D84C-0E11-409F-B0CF-AF8513F4648F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pic>
        <p:nvPicPr>
          <p:cNvPr id="552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56618" y="91570"/>
            <a:ext cx="1944687" cy="1090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287682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 err="1" smtClean="0"/>
              <a:t>Cloud</a:t>
            </a:r>
            <a:r>
              <a:rPr lang="hr-HR" dirty="0" smtClean="0"/>
              <a:t> Marketplace i partnerski model</a:t>
            </a:r>
            <a:endParaRPr lang="hr-H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r-HR" sz="2400" dirty="0"/>
              <a:t>Razni partnerski </a:t>
            </a:r>
            <a:r>
              <a:rPr lang="hr-HR" sz="2400" dirty="0" smtClean="0"/>
              <a:t>modeli</a:t>
            </a:r>
          </a:p>
          <a:p>
            <a:pPr marL="0" indent="0">
              <a:buNone/>
            </a:pPr>
            <a:endParaRPr lang="hr-HR" sz="2400" dirty="0"/>
          </a:p>
          <a:p>
            <a:r>
              <a:rPr lang="hr-HR" sz="2400" dirty="0"/>
              <a:t>Mogućnost stavljanja aplikacije u HT </a:t>
            </a:r>
            <a:r>
              <a:rPr lang="hr-HR" sz="2400" dirty="0" err="1" smtClean="0"/>
              <a:t>data</a:t>
            </a:r>
            <a:r>
              <a:rPr lang="hr-HR" sz="2400" dirty="0" smtClean="0"/>
              <a:t> centar</a:t>
            </a:r>
          </a:p>
          <a:p>
            <a:pPr marL="0" indent="0">
              <a:buNone/>
            </a:pPr>
            <a:endParaRPr lang="hr-HR" sz="2400" dirty="0"/>
          </a:p>
          <a:p>
            <a:r>
              <a:rPr lang="hr-HR" sz="2400" dirty="0"/>
              <a:t>Dokumentirani API za razvoj i </a:t>
            </a:r>
            <a:r>
              <a:rPr lang="hr-HR" sz="2400" dirty="0" smtClean="0"/>
              <a:t>prilagodbu</a:t>
            </a:r>
          </a:p>
          <a:p>
            <a:pPr marL="0" indent="0">
              <a:buNone/>
            </a:pPr>
            <a:endParaRPr lang="hr-HR" sz="2400" dirty="0"/>
          </a:p>
          <a:p>
            <a:r>
              <a:rPr lang="hr-HR" sz="2400" dirty="0"/>
              <a:t>Moguća promocija aplikacija van </a:t>
            </a:r>
            <a:r>
              <a:rPr lang="hr-HR" sz="2400" dirty="0" smtClean="0"/>
              <a:t>Hrvatske</a:t>
            </a:r>
            <a:endParaRPr lang="hr-HR" sz="2400" dirty="0"/>
          </a:p>
          <a:p>
            <a:pPr marL="0" indent="0">
              <a:buNone/>
            </a:pPr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B41D84C-0E11-409F-B0CF-AF8513F4648F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pic>
        <p:nvPicPr>
          <p:cNvPr id="563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24302" y="1372430"/>
            <a:ext cx="2212975" cy="142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75177" y="3322090"/>
            <a:ext cx="2311223" cy="14523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371142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 smtClean="0"/>
              <a:t>Što donosi </a:t>
            </a:r>
            <a:r>
              <a:rPr lang="hr-HR" dirty="0" err="1" smtClean="0"/>
              <a:t>Cloud</a:t>
            </a:r>
            <a:r>
              <a:rPr lang="hr-HR" dirty="0" smtClean="0"/>
              <a:t> Marketplace</a:t>
            </a:r>
            <a:endParaRPr lang="hr-H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r-HR" dirty="0"/>
              <a:t>Naplata od trenutka aktiviranja aplikacije do trenutka deaktivacije</a:t>
            </a:r>
          </a:p>
          <a:p>
            <a:r>
              <a:rPr lang="hr-HR" dirty="0"/>
              <a:t> Korištenje aplikacija bez kapitalnih investicija</a:t>
            </a:r>
          </a:p>
          <a:p>
            <a:r>
              <a:rPr lang="hr-HR" dirty="0"/>
              <a:t> Dohvaćanje aplikacija iz oblaka jednostavnim klikom miša</a:t>
            </a:r>
          </a:p>
          <a:p>
            <a:r>
              <a:rPr lang="hr-HR" dirty="0"/>
              <a:t> Brže i učinkovitije upravljanje aplikacijama i licencama</a:t>
            </a:r>
          </a:p>
          <a:p>
            <a:r>
              <a:rPr lang="hr-HR" dirty="0"/>
              <a:t> Model “</a:t>
            </a:r>
            <a:r>
              <a:rPr lang="hr-HR" dirty="0" err="1"/>
              <a:t>click</a:t>
            </a:r>
            <a:r>
              <a:rPr lang="hr-HR" dirty="0"/>
              <a:t> </a:t>
            </a:r>
            <a:r>
              <a:rPr lang="hr-HR" dirty="0" err="1"/>
              <a:t>and</a:t>
            </a:r>
            <a:r>
              <a:rPr lang="hr-HR" dirty="0"/>
              <a:t> </a:t>
            </a:r>
            <a:r>
              <a:rPr lang="hr-HR" dirty="0" err="1"/>
              <a:t>run</a:t>
            </a:r>
            <a:r>
              <a:rPr lang="hr-HR" dirty="0"/>
              <a:t>” – nema instalacije na računalo</a:t>
            </a:r>
          </a:p>
          <a:p>
            <a:r>
              <a:rPr lang="hr-HR" dirty="0"/>
              <a:t> </a:t>
            </a:r>
            <a:r>
              <a:rPr lang="hr-HR" dirty="0" err="1"/>
              <a:t>Desktop</a:t>
            </a:r>
            <a:r>
              <a:rPr lang="hr-HR" dirty="0"/>
              <a:t> aplikacija radi kao da je instalirana lokalno ( “</a:t>
            </a:r>
            <a:r>
              <a:rPr lang="hr-HR" dirty="0" err="1"/>
              <a:t>offline</a:t>
            </a:r>
            <a:r>
              <a:rPr lang="hr-HR" dirty="0"/>
              <a:t> mode”)</a:t>
            </a:r>
          </a:p>
          <a:p>
            <a:r>
              <a:rPr lang="hr-HR" dirty="0"/>
              <a:t> Korištenje usluge s bilo koje lokacije</a:t>
            </a:r>
          </a:p>
          <a:p>
            <a:r>
              <a:rPr lang="hr-HR" dirty="0"/>
              <a:t> 24/7 korisnička podrška </a:t>
            </a:r>
          </a:p>
          <a:p>
            <a:r>
              <a:rPr lang="hr-HR" dirty="0"/>
              <a:t>Jedinstvena prijava u sve aplikacije i usluge (SSO)</a:t>
            </a:r>
          </a:p>
          <a:p>
            <a:r>
              <a:rPr lang="hr-HR" dirty="0"/>
              <a:t>Upravljanje kompanijom, zaposlenicima, rolama…</a:t>
            </a:r>
          </a:p>
          <a:p>
            <a:r>
              <a:rPr lang="hr-HR" dirty="0"/>
              <a:t>Privatni </a:t>
            </a:r>
            <a:r>
              <a:rPr lang="hr-HR" dirty="0" err="1"/>
              <a:t>marketplace</a:t>
            </a:r>
            <a:r>
              <a:rPr lang="hr-HR" dirty="0"/>
              <a:t> sa specifičnim aplikacijama</a:t>
            </a:r>
          </a:p>
          <a:p>
            <a:pPr marL="0" indent="0">
              <a:buNone/>
            </a:pPr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B41D84C-0E11-409F-B0CF-AF8513F4648F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9907" y="3561023"/>
            <a:ext cx="2219325" cy="2066925"/>
          </a:xfrm>
          <a:prstGeom prst="rect">
            <a:avLst/>
          </a:prstGeom>
          <a:noFill/>
          <a:ln>
            <a:noFill/>
          </a:ln>
          <a:effectLst>
            <a:outerShdw blurRad="317500" dist="35921" dir="4500000" algn="ctr" rotWithShape="0">
              <a:schemeClr val="bg2">
                <a:alpha val="63000"/>
              </a:scheme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138389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 smtClean="0"/>
              <a:t>Upravljanje uslugom</a:t>
            </a:r>
            <a:endParaRPr lang="hr-H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r-HR" b="1" dirty="0"/>
              <a:t>Administrator:</a:t>
            </a:r>
          </a:p>
          <a:p>
            <a:r>
              <a:rPr lang="hr-HR" dirty="0"/>
              <a:t> Dodavanje korisnika</a:t>
            </a:r>
          </a:p>
          <a:p>
            <a:r>
              <a:rPr lang="hr-HR" dirty="0"/>
              <a:t> Brisanje korisnika</a:t>
            </a:r>
          </a:p>
          <a:p>
            <a:r>
              <a:rPr lang="hr-HR" dirty="0"/>
              <a:t> Odobravanje aplikacija i prava na iste</a:t>
            </a:r>
          </a:p>
          <a:p>
            <a:r>
              <a:rPr lang="hr-HR" dirty="0"/>
              <a:t> Izvještaji i upravljanje aplikacijama</a:t>
            </a:r>
          </a:p>
          <a:p>
            <a:r>
              <a:rPr lang="hr-HR" dirty="0"/>
              <a:t> Mogućnost komentiranja i ocjenjivanja aplikacija</a:t>
            </a:r>
          </a:p>
          <a:p>
            <a:r>
              <a:rPr lang="hr-HR" b="1" dirty="0"/>
              <a:t>Korisnik:</a:t>
            </a:r>
          </a:p>
          <a:p>
            <a:r>
              <a:rPr lang="hr-HR" dirty="0"/>
              <a:t> Zahtjevi za Aplikacijama</a:t>
            </a:r>
          </a:p>
          <a:p>
            <a:r>
              <a:rPr lang="hr-HR" dirty="0"/>
              <a:t> Promjene podataka/lozinki</a:t>
            </a:r>
          </a:p>
          <a:p>
            <a:r>
              <a:rPr lang="hr-HR" dirty="0"/>
              <a:t> Zahtjevi za dodatnim pravima na aplikacije</a:t>
            </a:r>
          </a:p>
          <a:p>
            <a:r>
              <a:rPr lang="hr-HR" dirty="0"/>
              <a:t> Pregled korištenja svih aplikacija</a:t>
            </a:r>
          </a:p>
          <a:p>
            <a:r>
              <a:rPr lang="hr-HR" dirty="0"/>
              <a:t> Mogućnost komentiranja i ocjenjivanja aplikacija</a:t>
            </a:r>
          </a:p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B41D84C-0E11-409F-B0CF-AF8513F4648F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57938" y="1268413"/>
            <a:ext cx="1943100" cy="194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96000" y="3623918"/>
            <a:ext cx="2466975" cy="1847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901395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 smtClean="0"/>
              <a:t>Kako izgleda?</a:t>
            </a:r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B41D84C-0E11-409F-B0CF-AF8513F4648F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9185" y="626450"/>
            <a:ext cx="6336703" cy="4986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614944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B41D84C-0E11-409F-B0CF-AF8513F4648F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3921" y="448855"/>
            <a:ext cx="7347721" cy="5238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284279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B41D84C-0E11-409F-B0CF-AF8513F4648F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70890" y="301227"/>
            <a:ext cx="6918845" cy="565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330663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8&quot;/&gt;&lt;partner val=&quot;53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3&quot;&gt;&lt;elem&gt;&lt;m_ppcolschidx val=&quot;0&quot;/&gt;&lt;m_rgb r=&quot;ce&quot; g=&quot;0&quot; b=&quot;0&quot;/&gt;&lt;/elem&gt;&lt;elem&gt;&lt;m_ppcolschidx val=&quot;0&quot;/&gt;&lt;m_rgb r=&quot;ff&quot; g=&quot;4&quot; b=&quot;88&quot;/&gt;&lt;/elem&gt;&lt;elem&gt;&lt;m_ppcolschidx val=&quot;0&quot;/&gt;&lt;m_rgb r=&quot;f2&quot; g=&quot;0&quot; b=&quot;0&quot;/&gt;&lt;/elem&gt;&lt;/m_vecMRU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639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_a0zKGekWj7bKB88vkg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_a0zKGekWj7bKB88vk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_a0zKGekWj7bKB88vk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_a0zKGekWj7bKB88vk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_a0zKGekWj7bKB88vk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_a0zKGekWj7bKB88vk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_a0zKGekWj7bKB88vk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_a0zKGekWj7bKB88vk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kMDWIm6E60sHlsWX95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_a0zKGekWj7bKB88vk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Nzg.8hz0.LdJH2sYUX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2kuGGXtUa35oBbzJmR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YIZQ27HECnPWj2x867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_a0zKGekWj7bKB88vk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_a0zKGekWj7bKB88vk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_a0zKGekWj7bKB88vkgQ"/>
</p:tagLst>
</file>

<file path=ppt/theme/theme1.xml><?xml version="1.0" encoding="utf-8"?>
<a:theme xmlns:a="http://schemas.openxmlformats.org/drawingml/2006/main" name="T_PPT_Master_4_3_D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427BAB"/>
      </a:accent1>
      <a:accent2>
        <a:srgbClr val="FDD167"/>
      </a:accent2>
      <a:accent3>
        <a:srgbClr val="FFFFFF"/>
      </a:accent3>
      <a:accent4>
        <a:srgbClr val="000000"/>
      </a:accent4>
      <a:accent5>
        <a:srgbClr val="B0BFD2"/>
      </a:accent5>
      <a:accent6>
        <a:srgbClr val="E5BD5D"/>
      </a:accent6>
      <a:hlink>
        <a:srgbClr val="E20074"/>
      </a:hlink>
      <a:folHlink>
        <a:srgbClr val="64B9E4"/>
      </a:folHlink>
    </a:clrScheme>
    <a:fontScheme name="T_PPT_Master_4_3_D">
      <a:majorFont>
        <a:latin typeface="Tele-GroteskNor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2500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ele-GroteskNor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2500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ele-GroteskNor" pitchFamily="2" charset="0"/>
          </a:defRPr>
        </a:defPPr>
      </a:lstStyle>
    </a:lnDef>
  </a:objectDefaults>
  <a:extraClrSchemeLst>
    <a:extraClrScheme>
      <a:clrScheme name="T_PPT_Master_4_3_D 1">
        <a:dk1>
          <a:srgbClr val="000000"/>
        </a:dk1>
        <a:lt1>
          <a:srgbClr val="FFFFFF"/>
        </a:lt1>
        <a:dk2>
          <a:srgbClr val="E20074"/>
        </a:dk2>
        <a:lt2>
          <a:srgbClr val="CCCCCC"/>
        </a:lt2>
        <a:accent1>
          <a:srgbClr val="3366CC"/>
        </a:accent1>
        <a:accent2>
          <a:srgbClr val="FDCD67"/>
        </a:accent2>
        <a:accent3>
          <a:srgbClr val="FFFFFF"/>
        </a:accent3>
        <a:accent4>
          <a:srgbClr val="000000"/>
        </a:accent4>
        <a:accent5>
          <a:srgbClr val="ADB8E2"/>
        </a:accent5>
        <a:accent6>
          <a:srgbClr val="E5BA5D"/>
        </a:accent6>
        <a:hlink>
          <a:srgbClr val="E20074"/>
        </a:hlink>
        <a:folHlink>
          <a:srgbClr val="99C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3366CC"/>
      </a:accent1>
      <a:accent2>
        <a:srgbClr val="FDCD67"/>
      </a:accent2>
      <a:accent3>
        <a:srgbClr val="FFFFFF"/>
      </a:accent3>
      <a:accent4>
        <a:srgbClr val="000000"/>
      </a:accent4>
      <a:accent5>
        <a:srgbClr val="ADB8E2"/>
      </a:accent5>
      <a:accent6>
        <a:srgbClr val="E5BA5D"/>
      </a:accent6>
      <a:hlink>
        <a:srgbClr val="E20074"/>
      </a:hlink>
      <a:folHlink>
        <a:srgbClr val="99CC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</TotalTime>
  <Words>602</Words>
  <Application>Microsoft Office PowerPoint</Application>
  <PresentationFormat>On-screen Show (4:3)</PresentationFormat>
  <Paragraphs>135</Paragraphs>
  <Slides>18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T_PPT_Master_4_3_D</vt:lpstr>
      <vt:lpstr>think-cell Slide</vt:lpstr>
      <vt:lpstr>HT usluge u Oblaku  </vt:lpstr>
      <vt:lpstr>Uvod</vt:lpstr>
      <vt:lpstr>Što kažu istraživanja</vt:lpstr>
      <vt:lpstr>Cloud Marketplace i partnerski model</vt:lpstr>
      <vt:lpstr>Što donosi Cloud Marketplace</vt:lpstr>
      <vt:lpstr>Upravljanje uslugom</vt:lpstr>
      <vt:lpstr>Kako izgleda?</vt:lpstr>
      <vt:lpstr>Slide 8</vt:lpstr>
      <vt:lpstr>Slide 9</vt:lpstr>
      <vt:lpstr>Slide 10</vt:lpstr>
      <vt:lpstr>Cloud GTM Strategy </vt:lpstr>
      <vt:lpstr>Slide 12</vt:lpstr>
      <vt:lpstr>Slide 13</vt:lpstr>
      <vt:lpstr>Slide 14</vt:lpstr>
      <vt:lpstr>Slide 15</vt:lpstr>
      <vt:lpstr>Slide 16</vt:lpstr>
      <vt:lpstr>Slide 17</vt:lpstr>
      <vt:lpstr>Pitanja</vt:lpstr>
    </vt:vector>
  </TitlesOfParts>
  <Manager>SCS</Manager>
  <Company>T-Mobile International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-Mobile_SCS-Template-Englisch</dc:title>
  <dc:subject>PowerPoint Toolkit SCS</dc:subject>
  <dc:creator>Ivan Cicvara</dc:creator>
  <cp:lastModifiedBy>Ivan Cicvara</cp:lastModifiedBy>
  <cp:revision>2782</cp:revision>
  <cp:lastPrinted>2012-07-22T13:40:46Z</cp:lastPrinted>
  <dcterms:created xsi:type="dcterms:W3CDTF">2007-10-11T06:51:59Z</dcterms:created>
  <dcterms:modified xsi:type="dcterms:W3CDTF">2012-11-12T09:52:34Z</dcterms:modified>
  <cp:category>C</cp:category>
</cp:coreProperties>
</file>